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46" autoAdjust="0"/>
    <p:restoredTop sz="94660"/>
  </p:normalViewPr>
  <p:slideViewPr>
    <p:cSldViewPr showGuides="1">
      <p:cViewPr varScale="1">
        <p:scale>
          <a:sx n="61" d="100"/>
          <a:sy n="61" d="100"/>
        </p:scale>
        <p:origin x="55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59C17387-725A-44BC-8753-F853402D69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59C17387-725A-44BC-8753-F853402D695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2CA859-18DB-4368-A143-1B6DCD6FA4FF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987550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CH" altLang="fr-FR" dirty="0" err="1">
                <a:solidFill>
                  <a:srgbClr val="7F7F7F"/>
                </a:solidFill>
              </a:rPr>
              <a:t>Introducing</a:t>
            </a:r>
            <a:r>
              <a:rPr lang="de-CH" altLang="fr-FR" dirty="0">
                <a:solidFill>
                  <a:srgbClr val="7F7F7F"/>
                </a:solidFill>
              </a:rPr>
              <a:t> </a:t>
            </a:r>
            <a:r>
              <a:rPr lang="de-CH" altLang="fr-FR" dirty="0" err="1">
                <a:solidFill>
                  <a:srgbClr val="7F7F7F"/>
                </a:solidFill>
              </a:rPr>
              <a:t>Sidel</a:t>
            </a:r>
            <a:r>
              <a:rPr lang="de-CH" altLang="fr-FR" dirty="0">
                <a:solidFill>
                  <a:srgbClr val="7F7F7F"/>
                </a:solidFill>
              </a:rPr>
              <a:t> Services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2 April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9AA420-9422-43C1-B99C-1CBAA0D2755B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1353265F-1C35-4082-B0DE-FCA50643FF0B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9BDBD0D1-2342-4935-A2A9-7505BD7F4645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C0451E01-FEF1-4FDB-8F07-D36FA31795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DB92995-E051-43DF-B46B-EBF9F185D9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4568522 w 501"/>
                <a:gd name="T1" fmla="*/ 4027178 h 429"/>
                <a:gd name="T2" fmla="*/ 4310276 w 501"/>
                <a:gd name="T3" fmla="*/ 3691357 h 429"/>
                <a:gd name="T4" fmla="*/ 4214776 w 501"/>
                <a:gd name="T5" fmla="*/ 3564761 h 429"/>
                <a:gd name="T6" fmla="*/ 3664740 w 501"/>
                <a:gd name="T7" fmla="*/ 3304260 h 429"/>
                <a:gd name="T8" fmla="*/ 2952548 w 501"/>
                <a:gd name="T9" fmla="*/ 4027178 h 429"/>
                <a:gd name="T10" fmla="*/ 3664740 w 501"/>
                <a:gd name="T11" fmla="*/ 4734442 h 429"/>
                <a:gd name="T12" fmla="*/ 4214776 w 501"/>
                <a:gd name="T13" fmla="*/ 4478460 h 429"/>
                <a:gd name="T14" fmla="*/ 4310276 w 501"/>
                <a:gd name="T15" fmla="*/ 4349937 h 429"/>
                <a:gd name="T16" fmla="*/ 4568522 w 501"/>
                <a:gd name="T17" fmla="*/ 4027178 h 429"/>
                <a:gd name="T18" fmla="*/ 2063169 w 501"/>
                <a:gd name="T19" fmla="*/ 4010786 h 429"/>
                <a:gd name="T20" fmla="*/ 3664740 w 501"/>
                <a:gd name="T21" fmla="*/ 2414913 h 429"/>
                <a:gd name="T22" fmla="*/ 4888128 w 501"/>
                <a:gd name="T23" fmla="*/ 2982032 h 429"/>
                <a:gd name="T24" fmla="*/ 4897171 w 501"/>
                <a:gd name="T25" fmla="*/ 3009155 h 429"/>
                <a:gd name="T26" fmla="*/ 4924909 w 501"/>
                <a:gd name="T27" fmla="*/ 2997663 h 429"/>
                <a:gd name="T28" fmla="*/ 3178589 w 501"/>
                <a:gd name="T29" fmla="*/ 0 h 429"/>
                <a:gd name="T30" fmla="*/ 0 w 501"/>
                <a:gd name="T31" fmla="*/ 5519696 h 429"/>
                <a:gd name="T32" fmla="*/ 3103200 w 501"/>
                <a:gd name="T33" fmla="*/ 5519696 h 429"/>
                <a:gd name="T34" fmla="*/ 3119644 w 501"/>
                <a:gd name="T35" fmla="*/ 5508183 h 429"/>
                <a:gd name="T36" fmla="*/ 2797958 w 501"/>
                <a:gd name="T37" fmla="*/ 5367943 h 429"/>
                <a:gd name="T38" fmla="*/ 2063169 w 501"/>
                <a:gd name="T39" fmla="*/ 4010786 h 429"/>
                <a:gd name="T40" fmla="*/ 6310013 w 501"/>
                <a:gd name="T41" fmla="*/ 5491583 h 429"/>
                <a:gd name="T42" fmla="*/ 5981387 w 501"/>
                <a:gd name="T43" fmla="*/ 5403871 h 429"/>
                <a:gd name="T44" fmla="*/ 5150071 w 501"/>
                <a:gd name="T45" fmla="*/ 4718078 h 429"/>
                <a:gd name="T46" fmla="*/ 4833230 w 501"/>
                <a:gd name="T47" fmla="*/ 5121520 h 429"/>
                <a:gd name="T48" fmla="*/ 4235785 w 501"/>
                <a:gd name="T49" fmla="*/ 5508183 h 429"/>
                <a:gd name="T50" fmla="*/ 4235785 w 501"/>
                <a:gd name="T51" fmla="*/ 5519696 h 429"/>
                <a:gd name="T52" fmla="*/ 6373815 w 501"/>
                <a:gd name="T53" fmla="*/ 5519696 h 429"/>
                <a:gd name="T54" fmla="*/ 6373815 w 501"/>
                <a:gd name="T55" fmla="*/ 5508183 h 429"/>
                <a:gd name="T56" fmla="*/ 6310013 w 501"/>
                <a:gd name="T57" fmla="*/ 5491583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6F2EA25D-05CC-4392-BF55-8B40310E05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2192949 w 937"/>
                <a:gd name="T1" fmla="*/ 1733974 h 326"/>
                <a:gd name="T2" fmla="*/ 998724 w 937"/>
                <a:gd name="T3" fmla="*/ 1135273 h 326"/>
                <a:gd name="T4" fmla="*/ 1600415 w 937"/>
                <a:gd name="T5" fmla="*/ 675077 h 326"/>
                <a:gd name="T6" fmla="*/ 2380593 w 937"/>
                <a:gd name="T7" fmla="*/ 1274643 h 326"/>
                <a:gd name="T8" fmla="*/ 3244479 w 937"/>
                <a:gd name="T9" fmla="*/ 1274643 h 326"/>
                <a:gd name="T10" fmla="*/ 1639010 w 937"/>
                <a:gd name="T11" fmla="*/ 0 h 326"/>
                <a:gd name="T12" fmla="*/ 151710 w 937"/>
                <a:gd name="T13" fmla="*/ 1199138 h 326"/>
                <a:gd name="T14" fmla="*/ 1333934 w 937"/>
                <a:gd name="T15" fmla="*/ 2333686 h 326"/>
                <a:gd name="T16" fmla="*/ 2523270 w 937"/>
                <a:gd name="T17" fmla="*/ 2988601 h 326"/>
                <a:gd name="T18" fmla="*/ 1740343 w 937"/>
                <a:gd name="T19" fmla="*/ 3484378 h 326"/>
                <a:gd name="T20" fmla="*/ 856086 w 937"/>
                <a:gd name="T21" fmla="*/ 2745367 h 326"/>
                <a:gd name="T22" fmla="*/ 11500 w 937"/>
                <a:gd name="T23" fmla="*/ 2745367 h 326"/>
                <a:gd name="T24" fmla="*/ 1719593 w 937"/>
                <a:gd name="T25" fmla="*/ 4161496 h 326"/>
                <a:gd name="T26" fmla="*/ 3367853 w 937"/>
                <a:gd name="T27" fmla="*/ 2884805 h 326"/>
                <a:gd name="T28" fmla="*/ 2192949 w 937"/>
                <a:gd name="T29" fmla="*/ 1733974 h 326"/>
                <a:gd name="T30" fmla="*/ 6933388 w 937"/>
                <a:gd name="T31" fmla="*/ 1546949 h 326"/>
                <a:gd name="T32" fmla="*/ 6933388 w 937"/>
                <a:gd name="T33" fmla="*/ 1546949 h 326"/>
                <a:gd name="T34" fmla="*/ 6065835 w 937"/>
                <a:gd name="T35" fmla="*/ 1107255 h 326"/>
                <a:gd name="T36" fmla="*/ 4795989 w 937"/>
                <a:gd name="T37" fmla="*/ 2603842 h 326"/>
                <a:gd name="T38" fmla="*/ 6086376 w 937"/>
                <a:gd name="T39" fmla="*/ 4150796 h 326"/>
                <a:gd name="T40" fmla="*/ 6960946 w 937"/>
                <a:gd name="T41" fmla="*/ 3702049 h 326"/>
                <a:gd name="T42" fmla="*/ 6970511 w 937"/>
                <a:gd name="T43" fmla="*/ 3702049 h 326"/>
                <a:gd name="T44" fmla="*/ 6970511 w 937"/>
                <a:gd name="T45" fmla="*/ 4070378 h 326"/>
                <a:gd name="T46" fmla="*/ 7730310 w 937"/>
                <a:gd name="T47" fmla="*/ 4070378 h 326"/>
                <a:gd name="T48" fmla="*/ 7730310 w 937"/>
                <a:gd name="T49" fmla="*/ 102490 h 326"/>
                <a:gd name="T50" fmla="*/ 6933388 w 937"/>
                <a:gd name="T51" fmla="*/ 102490 h 326"/>
                <a:gd name="T52" fmla="*/ 6933388 w 937"/>
                <a:gd name="T53" fmla="*/ 1546949 h 326"/>
                <a:gd name="T54" fmla="*/ 6281633 w 937"/>
                <a:gd name="T55" fmla="*/ 3551195 h 326"/>
                <a:gd name="T56" fmla="*/ 5587978 w 937"/>
                <a:gd name="T57" fmla="*/ 2630894 h 326"/>
                <a:gd name="T58" fmla="*/ 6281633 w 937"/>
                <a:gd name="T59" fmla="*/ 1713455 h 326"/>
                <a:gd name="T60" fmla="*/ 6960946 w 937"/>
                <a:gd name="T61" fmla="*/ 2615296 h 326"/>
                <a:gd name="T62" fmla="*/ 6281633 w 937"/>
                <a:gd name="T63" fmla="*/ 3551195 h 326"/>
                <a:gd name="T64" fmla="*/ 9497772 w 937"/>
                <a:gd name="T65" fmla="*/ 1107255 h 326"/>
                <a:gd name="T66" fmla="*/ 8023529 w 937"/>
                <a:gd name="T67" fmla="*/ 2630894 h 326"/>
                <a:gd name="T68" fmla="*/ 9497772 w 937"/>
                <a:gd name="T69" fmla="*/ 4150796 h 326"/>
                <a:gd name="T70" fmla="*/ 10843714 w 937"/>
                <a:gd name="T71" fmla="*/ 3178416 h 326"/>
                <a:gd name="T72" fmla="*/ 10149534 w 937"/>
                <a:gd name="T73" fmla="*/ 3178416 h 326"/>
                <a:gd name="T74" fmla="*/ 9525821 w 937"/>
                <a:gd name="T75" fmla="*/ 3551195 h 326"/>
                <a:gd name="T76" fmla="*/ 8804991 w 937"/>
                <a:gd name="T77" fmla="*/ 2820843 h 326"/>
                <a:gd name="T78" fmla="*/ 10893868 w 937"/>
                <a:gd name="T79" fmla="*/ 2820843 h 326"/>
                <a:gd name="T80" fmla="*/ 9497772 w 937"/>
                <a:gd name="T81" fmla="*/ 1107255 h 326"/>
                <a:gd name="T82" fmla="*/ 8804991 w 937"/>
                <a:gd name="T83" fmla="*/ 2325006 h 326"/>
                <a:gd name="T84" fmla="*/ 9472737 w 937"/>
                <a:gd name="T85" fmla="*/ 1713455 h 326"/>
                <a:gd name="T86" fmla="*/ 10102182 w 937"/>
                <a:gd name="T87" fmla="*/ 2325006 h 326"/>
                <a:gd name="T88" fmla="*/ 8804991 w 937"/>
                <a:gd name="T89" fmla="*/ 2325006 h 326"/>
                <a:gd name="T90" fmla="*/ 11217419 w 937"/>
                <a:gd name="T91" fmla="*/ 4070378 h 326"/>
                <a:gd name="T92" fmla="*/ 12009417 w 937"/>
                <a:gd name="T93" fmla="*/ 4070378 h 326"/>
                <a:gd name="T94" fmla="*/ 12009417 w 937"/>
                <a:gd name="T95" fmla="*/ 102490 h 326"/>
                <a:gd name="T96" fmla="*/ 11217419 w 937"/>
                <a:gd name="T97" fmla="*/ 102490 h 326"/>
                <a:gd name="T98" fmla="*/ 11217419 w 937"/>
                <a:gd name="T99" fmla="*/ 4070378 h 326"/>
                <a:gd name="T100" fmla="*/ 3666008 w 937"/>
                <a:gd name="T101" fmla="*/ 4070378 h 326"/>
                <a:gd name="T102" fmla="*/ 4458653 w 937"/>
                <a:gd name="T103" fmla="*/ 4070378 h 326"/>
                <a:gd name="T104" fmla="*/ 4458653 w 937"/>
                <a:gd name="T105" fmla="*/ 1189364 h 326"/>
                <a:gd name="T106" fmla="*/ 3666008 w 937"/>
                <a:gd name="T107" fmla="*/ 1189364 h 326"/>
                <a:gd name="T108" fmla="*/ 3666008 w 937"/>
                <a:gd name="T109" fmla="*/ 4070378 h 326"/>
                <a:gd name="T110" fmla="*/ 3666008 w 937"/>
                <a:gd name="T111" fmla="*/ 750922 h 326"/>
                <a:gd name="T112" fmla="*/ 4458653 w 937"/>
                <a:gd name="T113" fmla="*/ 750922 h 326"/>
                <a:gd name="T114" fmla="*/ 4458653 w 937"/>
                <a:gd name="T115" fmla="*/ 102490 h 326"/>
                <a:gd name="T116" fmla="*/ 3666008 w 937"/>
                <a:gd name="T117" fmla="*/ 102490 h 326"/>
                <a:gd name="T118" fmla="*/ 3666008 w 937"/>
                <a:gd name="T119" fmla="*/ 750922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F7461EB-F61D-4DCB-955C-4CCB59A3C392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432EA8DF-C719-4FA0-9213-75F20EDF60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432EA8DF-C719-4FA0-9213-75F20EDF60B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225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kt 84" hidden="1">
            <a:extLst>
              <a:ext uri="{FF2B5EF4-FFF2-40B4-BE49-F238E27FC236}">
                <a16:creationId xmlns:a16="http://schemas.microsoft.com/office/drawing/2014/main" id="{D98EA484-0823-4AEC-9865-F12D3380C299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5122" name="Objekt 84" hidden="1">
                        <a:extLst>
                          <a:ext uri="{FF2B5EF4-FFF2-40B4-BE49-F238E27FC236}">
                            <a16:creationId xmlns:a16="http://schemas.microsoft.com/office/drawing/2014/main" id="{D98EA484-0823-4AEC-9865-F12D3380C29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Titelplatzhalter 1">
            <a:extLst>
              <a:ext uri="{FF2B5EF4-FFF2-40B4-BE49-F238E27FC236}">
                <a16:creationId xmlns:a16="http://schemas.microsoft.com/office/drawing/2014/main" id="{57DEF6F6-EC9E-495E-B9F4-29B7D4733E6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Click to edit Master title style</a:t>
            </a:r>
            <a:endParaRPr lang="en-GB" altLang="fr-FR"/>
          </a:p>
        </p:txBody>
      </p:sp>
      <p:sp>
        <p:nvSpPr>
          <p:cNvPr id="5124" name="Textplatzhalter 2">
            <a:extLst>
              <a:ext uri="{FF2B5EF4-FFF2-40B4-BE49-F238E27FC236}">
                <a16:creationId xmlns:a16="http://schemas.microsoft.com/office/drawing/2014/main" id="{4CBCE9FB-9CB0-4DC6-BFAA-CC56F3C7490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7E913F2B-D6CD-4A85-9F23-65208BF127D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987550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CH" altLang="fr-FR" dirty="0" err="1">
                <a:solidFill>
                  <a:srgbClr val="7F7F7F"/>
                </a:solidFill>
              </a:rPr>
              <a:t>Introducing</a:t>
            </a:r>
            <a:r>
              <a:rPr lang="de-CH" altLang="fr-FR" dirty="0">
                <a:solidFill>
                  <a:srgbClr val="7F7F7F"/>
                </a:solidFill>
              </a:rPr>
              <a:t> </a:t>
            </a:r>
            <a:r>
              <a:rPr lang="de-CH" altLang="fr-FR" dirty="0" err="1">
                <a:solidFill>
                  <a:srgbClr val="7F7F7F"/>
                </a:solidFill>
              </a:rPr>
              <a:t>Sidel</a:t>
            </a:r>
            <a:r>
              <a:rPr lang="de-CH" altLang="fr-FR" dirty="0">
                <a:solidFill>
                  <a:srgbClr val="7F7F7F"/>
                </a:solidFill>
              </a:rPr>
              <a:t> Services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2 April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43C48A16-A14B-4484-866B-C64CCB45E6F1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E3D3507E-9A21-4AAF-BC6C-F26D23623ABB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5127" name="Group 7">
            <a:extLst>
              <a:ext uri="{FF2B5EF4-FFF2-40B4-BE49-F238E27FC236}">
                <a16:creationId xmlns:a16="http://schemas.microsoft.com/office/drawing/2014/main" id="{86AC0F90-E420-41B9-A63B-1AE258486FE0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5130" name="Freeform 8">
              <a:extLst>
                <a:ext uri="{FF2B5EF4-FFF2-40B4-BE49-F238E27FC236}">
                  <a16:creationId xmlns:a16="http://schemas.microsoft.com/office/drawing/2014/main" id="{DA9CA745-588B-4C1F-B03C-322DC2956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131" name="Freeform 9">
              <a:extLst>
                <a:ext uri="{FF2B5EF4-FFF2-40B4-BE49-F238E27FC236}">
                  <a16:creationId xmlns:a16="http://schemas.microsoft.com/office/drawing/2014/main" id="{26040F4C-E884-439C-BD45-325605CD5C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4568522 w 501"/>
                <a:gd name="T1" fmla="*/ 4027178 h 429"/>
                <a:gd name="T2" fmla="*/ 4310276 w 501"/>
                <a:gd name="T3" fmla="*/ 3691357 h 429"/>
                <a:gd name="T4" fmla="*/ 4214776 w 501"/>
                <a:gd name="T5" fmla="*/ 3564761 h 429"/>
                <a:gd name="T6" fmla="*/ 3664740 w 501"/>
                <a:gd name="T7" fmla="*/ 3304260 h 429"/>
                <a:gd name="T8" fmla="*/ 2952548 w 501"/>
                <a:gd name="T9" fmla="*/ 4027178 h 429"/>
                <a:gd name="T10" fmla="*/ 3664740 w 501"/>
                <a:gd name="T11" fmla="*/ 4734442 h 429"/>
                <a:gd name="T12" fmla="*/ 4214776 w 501"/>
                <a:gd name="T13" fmla="*/ 4478460 h 429"/>
                <a:gd name="T14" fmla="*/ 4310276 w 501"/>
                <a:gd name="T15" fmla="*/ 4349937 h 429"/>
                <a:gd name="T16" fmla="*/ 4568522 w 501"/>
                <a:gd name="T17" fmla="*/ 4027178 h 429"/>
                <a:gd name="T18" fmla="*/ 2063169 w 501"/>
                <a:gd name="T19" fmla="*/ 4010786 h 429"/>
                <a:gd name="T20" fmla="*/ 3664740 w 501"/>
                <a:gd name="T21" fmla="*/ 2414913 h 429"/>
                <a:gd name="T22" fmla="*/ 4888128 w 501"/>
                <a:gd name="T23" fmla="*/ 2982032 h 429"/>
                <a:gd name="T24" fmla="*/ 4897171 w 501"/>
                <a:gd name="T25" fmla="*/ 3009155 h 429"/>
                <a:gd name="T26" fmla="*/ 4924909 w 501"/>
                <a:gd name="T27" fmla="*/ 2997663 h 429"/>
                <a:gd name="T28" fmla="*/ 3178589 w 501"/>
                <a:gd name="T29" fmla="*/ 0 h 429"/>
                <a:gd name="T30" fmla="*/ 0 w 501"/>
                <a:gd name="T31" fmla="*/ 5519696 h 429"/>
                <a:gd name="T32" fmla="*/ 3103200 w 501"/>
                <a:gd name="T33" fmla="*/ 5519696 h 429"/>
                <a:gd name="T34" fmla="*/ 3119644 w 501"/>
                <a:gd name="T35" fmla="*/ 5508183 h 429"/>
                <a:gd name="T36" fmla="*/ 2797958 w 501"/>
                <a:gd name="T37" fmla="*/ 5367943 h 429"/>
                <a:gd name="T38" fmla="*/ 2063169 w 501"/>
                <a:gd name="T39" fmla="*/ 4010786 h 429"/>
                <a:gd name="T40" fmla="*/ 6310013 w 501"/>
                <a:gd name="T41" fmla="*/ 5491583 h 429"/>
                <a:gd name="T42" fmla="*/ 5981387 w 501"/>
                <a:gd name="T43" fmla="*/ 5403871 h 429"/>
                <a:gd name="T44" fmla="*/ 5150071 w 501"/>
                <a:gd name="T45" fmla="*/ 4718078 h 429"/>
                <a:gd name="T46" fmla="*/ 4833230 w 501"/>
                <a:gd name="T47" fmla="*/ 5121520 h 429"/>
                <a:gd name="T48" fmla="*/ 4235785 w 501"/>
                <a:gd name="T49" fmla="*/ 5508183 h 429"/>
                <a:gd name="T50" fmla="*/ 4235785 w 501"/>
                <a:gd name="T51" fmla="*/ 5519696 h 429"/>
                <a:gd name="T52" fmla="*/ 6373815 w 501"/>
                <a:gd name="T53" fmla="*/ 5519696 h 429"/>
                <a:gd name="T54" fmla="*/ 6373815 w 501"/>
                <a:gd name="T55" fmla="*/ 5508183 h 429"/>
                <a:gd name="T56" fmla="*/ 6310013 w 501"/>
                <a:gd name="T57" fmla="*/ 5491583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132" name="Freeform 10">
              <a:extLst>
                <a:ext uri="{FF2B5EF4-FFF2-40B4-BE49-F238E27FC236}">
                  <a16:creationId xmlns:a16="http://schemas.microsoft.com/office/drawing/2014/main" id="{2B5DBEAE-741C-45D0-8573-54E04EBFA61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2192949 w 937"/>
                <a:gd name="T1" fmla="*/ 1733974 h 326"/>
                <a:gd name="T2" fmla="*/ 998724 w 937"/>
                <a:gd name="T3" fmla="*/ 1135273 h 326"/>
                <a:gd name="T4" fmla="*/ 1600415 w 937"/>
                <a:gd name="T5" fmla="*/ 675077 h 326"/>
                <a:gd name="T6" fmla="*/ 2380593 w 937"/>
                <a:gd name="T7" fmla="*/ 1274643 h 326"/>
                <a:gd name="T8" fmla="*/ 3244479 w 937"/>
                <a:gd name="T9" fmla="*/ 1274643 h 326"/>
                <a:gd name="T10" fmla="*/ 1639010 w 937"/>
                <a:gd name="T11" fmla="*/ 0 h 326"/>
                <a:gd name="T12" fmla="*/ 151710 w 937"/>
                <a:gd name="T13" fmla="*/ 1199138 h 326"/>
                <a:gd name="T14" fmla="*/ 1333934 w 937"/>
                <a:gd name="T15" fmla="*/ 2333686 h 326"/>
                <a:gd name="T16" fmla="*/ 2523270 w 937"/>
                <a:gd name="T17" fmla="*/ 2988601 h 326"/>
                <a:gd name="T18" fmla="*/ 1740343 w 937"/>
                <a:gd name="T19" fmla="*/ 3484378 h 326"/>
                <a:gd name="T20" fmla="*/ 856086 w 937"/>
                <a:gd name="T21" fmla="*/ 2745367 h 326"/>
                <a:gd name="T22" fmla="*/ 11500 w 937"/>
                <a:gd name="T23" fmla="*/ 2745367 h 326"/>
                <a:gd name="T24" fmla="*/ 1719593 w 937"/>
                <a:gd name="T25" fmla="*/ 4161496 h 326"/>
                <a:gd name="T26" fmla="*/ 3367853 w 937"/>
                <a:gd name="T27" fmla="*/ 2884805 h 326"/>
                <a:gd name="T28" fmla="*/ 2192949 w 937"/>
                <a:gd name="T29" fmla="*/ 1733974 h 326"/>
                <a:gd name="T30" fmla="*/ 6933388 w 937"/>
                <a:gd name="T31" fmla="*/ 1546949 h 326"/>
                <a:gd name="T32" fmla="*/ 6933388 w 937"/>
                <a:gd name="T33" fmla="*/ 1546949 h 326"/>
                <a:gd name="T34" fmla="*/ 6065835 w 937"/>
                <a:gd name="T35" fmla="*/ 1107255 h 326"/>
                <a:gd name="T36" fmla="*/ 4795989 w 937"/>
                <a:gd name="T37" fmla="*/ 2603842 h 326"/>
                <a:gd name="T38" fmla="*/ 6086376 w 937"/>
                <a:gd name="T39" fmla="*/ 4150796 h 326"/>
                <a:gd name="T40" fmla="*/ 6960946 w 937"/>
                <a:gd name="T41" fmla="*/ 3702049 h 326"/>
                <a:gd name="T42" fmla="*/ 6970511 w 937"/>
                <a:gd name="T43" fmla="*/ 3702049 h 326"/>
                <a:gd name="T44" fmla="*/ 6970511 w 937"/>
                <a:gd name="T45" fmla="*/ 4070378 h 326"/>
                <a:gd name="T46" fmla="*/ 7730310 w 937"/>
                <a:gd name="T47" fmla="*/ 4070378 h 326"/>
                <a:gd name="T48" fmla="*/ 7730310 w 937"/>
                <a:gd name="T49" fmla="*/ 102490 h 326"/>
                <a:gd name="T50" fmla="*/ 6933388 w 937"/>
                <a:gd name="T51" fmla="*/ 102490 h 326"/>
                <a:gd name="T52" fmla="*/ 6933388 w 937"/>
                <a:gd name="T53" fmla="*/ 1546949 h 326"/>
                <a:gd name="T54" fmla="*/ 6281633 w 937"/>
                <a:gd name="T55" fmla="*/ 3551195 h 326"/>
                <a:gd name="T56" fmla="*/ 5587978 w 937"/>
                <a:gd name="T57" fmla="*/ 2630894 h 326"/>
                <a:gd name="T58" fmla="*/ 6281633 w 937"/>
                <a:gd name="T59" fmla="*/ 1713455 h 326"/>
                <a:gd name="T60" fmla="*/ 6960946 w 937"/>
                <a:gd name="T61" fmla="*/ 2615296 h 326"/>
                <a:gd name="T62" fmla="*/ 6281633 w 937"/>
                <a:gd name="T63" fmla="*/ 3551195 h 326"/>
                <a:gd name="T64" fmla="*/ 9497772 w 937"/>
                <a:gd name="T65" fmla="*/ 1107255 h 326"/>
                <a:gd name="T66" fmla="*/ 8023529 w 937"/>
                <a:gd name="T67" fmla="*/ 2630894 h 326"/>
                <a:gd name="T68" fmla="*/ 9497772 w 937"/>
                <a:gd name="T69" fmla="*/ 4150796 h 326"/>
                <a:gd name="T70" fmla="*/ 10843714 w 937"/>
                <a:gd name="T71" fmla="*/ 3178416 h 326"/>
                <a:gd name="T72" fmla="*/ 10149534 w 937"/>
                <a:gd name="T73" fmla="*/ 3178416 h 326"/>
                <a:gd name="T74" fmla="*/ 9525821 w 937"/>
                <a:gd name="T75" fmla="*/ 3551195 h 326"/>
                <a:gd name="T76" fmla="*/ 8804991 w 937"/>
                <a:gd name="T77" fmla="*/ 2820843 h 326"/>
                <a:gd name="T78" fmla="*/ 10893868 w 937"/>
                <a:gd name="T79" fmla="*/ 2820843 h 326"/>
                <a:gd name="T80" fmla="*/ 9497772 w 937"/>
                <a:gd name="T81" fmla="*/ 1107255 h 326"/>
                <a:gd name="T82" fmla="*/ 8804991 w 937"/>
                <a:gd name="T83" fmla="*/ 2325006 h 326"/>
                <a:gd name="T84" fmla="*/ 9472737 w 937"/>
                <a:gd name="T85" fmla="*/ 1713455 h 326"/>
                <a:gd name="T86" fmla="*/ 10102182 w 937"/>
                <a:gd name="T87" fmla="*/ 2325006 h 326"/>
                <a:gd name="T88" fmla="*/ 8804991 w 937"/>
                <a:gd name="T89" fmla="*/ 2325006 h 326"/>
                <a:gd name="T90" fmla="*/ 11217419 w 937"/>
                <a:gd name="T91" fmla="*/ 4070378 h 326"/>
                <a:gd name="T92" fmla="*/ 12009417 w 937"/>
                <a:gd name="T93" fmla="*/ 4070378 h 326"/>
                <a:gd name="T94" fmla="*/ 12009417 w 937"/>
                <a:gd name="T95" fmla="*/ 102490 h 326"/>
                <a:gd name="T96" fmla="*/ 11217419 w 937"/>
                <a:gd name="T97" fmla="*/ 102490 h 326"/>
                <a:gd name="T98" fmla="*/ 11217419 w 937"/>
                <a:gd name="T99" fmla="*/ 4070378 h 326"/>
                <a:gd name="T100" fmla="*/ 3666008 w 937"/>
                <a:gd name="T101" fmla="*/ 4070378 h 326"/>
                <a:gd name="T102" fmla="*/ 4458653 w 937"/>
                <a:gd name="T103" fmla="*/ 4070378 h 326"/>
                <a:gd name="T104" fmla="*/ 4458653 w 937"/>
                <a:gd name="T105" fmla="*/ 1189364 h 326"/>
                <a:gd name="T106" fmla="*/ 3666008 w 937"/>
                <a:gd name="T107" fmla="*/ 1189364 h 326"/>
                <a:gd name="T108" fmla="*/ 3666008 w 937"/>
                <a:gd name="T109" fmla="*/ 4070378 h 326"/>
                <a:gd name="T110" fmla="*/ 3666008 w 937"/>
                <a:gd name="T111" fmla="*/ 750922 h 326"/>
                <a:gd name="T112" fmla="*/ 4458653 w 937"/>
                <a:gd name="T113" fmla="*/ 750922 h 326"/>
                <a:gd name="T114" fmla="*/ 4458653 w 937"/>
                <a:gd name="T115" fmla="*/ 102490 h 326"/>
                <a:gd name="T116" fmla="*/ 3666008 w 937"/>
                <a:gd name="T117" fmla="*/ 102490 h 326"/>
                <a:gd name="T118" fmla="*/ 3666008 w 937"/>
                <a:gd name="T119" fmla="*/ 750922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B1317C05-0774-4B67-8D3A-19397F34439E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6497375-2BB5-4E26-969A-FE9A102D47FA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4420542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1" r:id="rId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52E75FA2-D967-4CBE-856E-477C8C2B893A}"/>
              </a:ext>
            </a:extLst>
          </p:cNvPr>
          <p:cNvGrpSpPr>
            <a:grpSpLocks/>
          </p:cNvGrpSpPr>
          <p:nvPr/>
        </p:nvGrpSpPr>
        <p:grpSpPr bwMode="auto">
          <a:xfrm>
            <a:off x="692188" y="1646725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7F890600-7092-45A1-9F61-95D8676FD0F2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3DB74F2F-F03F-4B2E-BE8D-5E0DB85D201C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Rechteck 11">
              <a:extLst>
                <a:ext uri="{FF2B5EF4-FFF2-40B4-BE49-F238E27FC236}">
                  <a16:creationId xmlns:a16="http://schemas.microsoft.com/office/drawing/2014/main" id="{CE6025EC-EA54-45EB-BA5C-A6C0A23D0ED1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ESCRIPTION 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4" name="Rechteck 12">
              <a:extLst>
                <a:ext uri="{FF2B5EF4-FFF2-40B4-BE49-F238E27FC236}">
                  <a16:creationId xmlns:a16="http://schemas.microsoft.com/office/drawing/2014/main" id="{B159CEE8-B694-4B3A-BFAB-9B7AAE642E00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imSun" panose="02010600030101010101" pitchFamily="2" charset="-122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ase hygiene level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78111" y="1360141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UV Rail on preform infeed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en-US" dirty="0">
                <a:solidFill>
                  <a:srgbClr val="000000"/>
                </a:solidFill>
              </a:rPr>
              <a:t>Value: Product Quality</a:t>
            </a:r>
          </a:p>
          <a:p>
            <a:r>
              <a:rPr lang="en-US" dirty="0">
                <a:solidFill>
                  <a:srgbClr val="000000"/>
                </a:solidFill>
              </a:rPr>
              <a:t>Equipment: Matrix blowers</a:t>
            </a:r>
          </a:p>
          <a:p>
            <a:r>
              <a:rPr lang="en-US" dirty="0">
                <a:solidFill>
                  <a:srgbClr val="000000"/>
                </a:solidFill>
              </a:rPr>
              <a:t>Catalogue code: 2007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CB503EB-6FE4-408C-B1A9-F1EA6DE94EA8}"/>
              </a:ext>
            </a:extLst>
          </p:cNvPr>
          <p:cNvSpPr/>
          <p:nvPr/>
        </p:nvSpPr>
        <p:spPr>
          <a:xfrm>
            <a:off x="692188" y="2140163"/>
            <a:ext cx="3889375" cy="216213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0"/>
              </a:spcBef>
            </a:pPr>
            <a:r>
              <a:rPr lang="en-GB" altLang="zh-CN" sz="1200" b="1" dirty="0">
                <a:solidFill>
                  <a:schemeClr val="accent4"/>
                </a:solidFill>
              </a:rPr>
              <a:t>Operating principle</a:t>
            </a: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rgbClr val="000000"/>
                </a:solidFill>
                <a:ea typeface="宋体" panose="02010600030101010101" pitchFamily="2" charset="-122"/>
              </a:rPr>
              <a:t>Decontamination of the </a:t>
            </a:r>
            <a:r>
              <a:rPr lang="en-US" sz="1200" b="1" dirty="0">
                <a:solidFill>
                  <a:schemeClr val="accent4"/>
                </a:solidFill>
              </a:rPr>
              <a:t>preforms external side and of the </a:t>
            </a:r>
            <a:r>
              <a:rPr lang="en-US" altLang="zh-CN" sz="1200" b="1" dirty="0">
                <a:solidFill>
                  <a:schemeClr val="accent4"/>
                </a:solidFill>
              </a:rPr>
              <a:t>necks</a:t>
            </a:r>
            <a:r>
              <a:rPr lang="en-US" altLang="zh-CN" sz="1200" dirty="0">
                <a:solidFill>
                  <a:srgbClr val="000000"/>
                </a:solidFill>
                <a:ea typeface="宋体" panose="02010600030101010101" pitchFamily="2" charset="-122"/>
              </a:rPr>
              <a:t> by UV (6-12 lamps with UV filter glass). The preforms are exposed to shortwave radiation when they pass through the infeed rail.</a:t>
            </a: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zh-CN" sz="1200" dirty="0">
              <a:solidFill>
                <a:srgbClr val="000000"/>
              </a:solidFill>
              <a:ea typeface="宋体" panose="02010600030101010101" pitchFamily="2" charset="-122"/>
            </a:endParaRPr>
          </a:p>
          <a:p>
            <a:pPr>
              <a:spcBef>
                <a:spcPct val="0"/>
              </a:spcBef>
            </a:pPr>
            <a:r>
              <a:rPr lang="en-GB" altLang="zh-CN" sz="1200" b="1" dirty="0">
                <a:solidFill>
                  <a:schemeClr val="accent4"/>
                </a:solidFill>
              </a:rPr>
              <a:t>Main benefits</a:t>
            </a: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ea typeface="宋体" panose="02010600030101010101" pitchFamily="2" charset="-122"/>
              </a:rPr>
              <a:t>Decontamination of the preform necks.</a:t>
            </a: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ea typeface="宋体" panose="02010600030101010101" pitchFamily="2" charset="-122"/>
              </a:rPr>
              <a:t>Germicidal action on bacteria. </a:t>
            </a:r>
            <a:endParaRPr lang="en-GB" altLang="zh-CN" sz="1200" dirty="0">
              <a:ea typeface="宋体" panose="02010600030101010101" pitchFamily="2" charset="-122"/>
            </a:endParaRP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zh-CN" sz="1200" dirty="0">
              <a:solidFill>
                <a:srgbClr val="000000"/>
              </a:solidFill>
              <a:ea typeface="宋体" panose="02010600030101010101" pitchFamily="2" charset="-122"/>
            </a:endParaRPr>
          </a:p>
          <a:p>
            <a:pPr marL="182563" indent="-182563">
              <a:spcBef>
                <a:spcPts val="300"/>
              </a:spcBef>
              <a:spcAft>
                <a:spcPts val="0"/>
              </a:spcAft>
              <a:buClr>
                <a:schemeClr val="folHlink"/>
              </a:buClr>
              <a:buFont typeface="Wingdings" pitchFamily="2" charset="2"/>
              <a:buChar char="§"/>
            </a:pPr>
            <a:endParaRPr lang="en-US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4F95EFC-BE7E-4E39-8615-B78D0D2462B1}"/>
              </a:ext>
            </a:extLst>
          </p:cNvPr>
          <p:cNvSpPr/>
          <p:nvPr/>
        </p:nvSpPr>
        <p:spPr>
          <a:xfrm>
            <a:off x="4768690" y="2125262"/>
            <a:ext cx="3889375" cy="921471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lvl="0" indent="-171450">
              <a:spcBef>
                <a:spcPts val="300"/>
              </a:spcBef>
              <a:buClr>
                <a:srgbClr val="E64B00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</a:rPr>
              <a:t>Replacement of the standard rail by a rail UV</a:t>
            </a:r>
          </a:p>
          <a:p>
            <a:pPr marL="171450" indent="-17145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rgbClr val="000000"/>
                </a:solidFill>
                <a:ea typeface="宋体" panose="02010600030101010101" pitchFamily="2" charset="-122"/>
              </a:rPr>
              <a:t>This option can have an impact on machine footprint.</a:t>
            </a:r>
          </a:p>
          <a:p>
            <a:pPr marL="171450" indent="-17145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rgbClr val="000000"/>
                </a:solidFill>
                <a:ea typeface="宋体" panose="02010600030101010101" pitchFamily="2" charset="-122"/>
              </a:rPr>
              <a:t>The final design of the solution is linked to the customer layout validation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7" name="Image 25" descr="ppt.jpg">
            <a:extLst>
              <a:ext uri="{FF2B5EF4-FFF2-40B4-BE49-F238E27FC236}">
                <a16:creationId xmlns:a16="http://schemas.microsoft.com/office/drawing/2014/main" id="{F66581F7-D1DC-49C1-BAD3-C0AC50D758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2258" y="3224802"/>
            <a:ext cx="2127132" cy="1317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ZoneTexte 14">
            <a:extLst>
              <a:ext uri="{FF2B5EF4-FFF2-40B4-BE49-F238E27FC236}">
                <a16:creationId xmlns:a16="http://schemas.microsoft.com/office/drawing/2014/main" id="{54897317-CD6C-4EC5-BA24-BE07732106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32040" y="4432693"/>
            <a:ext cx="983792" cy="190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4461" tIns="62231" rIns="124461" bIns="62231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100000"/>
            </a:pPr>
            <a:r>
              <a:rPr lang="fr-FR" altLang="fr-FR" sz="800" b="0" dirty="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V lamps</a:t>
            </a:r>
          </a:p>
        </p:txBody>
      </p:sp>
      <p:cxnSp>
        <p:nvCxnSpPr>
          <p:cNvPr id="19" name="Connecteur droit avec flèche 27">
            <a:extLst>
              <a:ext uri="{FF2B5EF4-FFF2-40B4-BE49-F238E27FC236}">
                <a16:creationId xmlns:a16="http://schemas.microsoft.com/office/drawing/2014/main" id="{5994ADC4-2AE9-4EFB-894C-18E79496810F}"/>
              </a:ext>
            </a:extLst>
          </p:cNvPr>
          <p:cNvCxnSpPr>
            <a:cxnSpLocks/>
          </p:cNvCxnSpPr>
          <p:nvPr/>
        </p:nvCxnSpPr>
        <p:spPr bwMode="auto">
          <a:xfrm flipV="1">
            <a:off x="5584700" y="4208552"/>
            <a:ext cx="235723" cy="269864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rgbClr val="EB690B"/>
            </a:solidFill>
            <a:prstDash val="solid"/>
            <a:round/>
            <a:headEnd type="none" w="med" len="med"/>
            <a:tailEnd type="triangle"/>
          </a:ln>
          <a:effectLst>
            <a:outerShdw blurRad="50800" dist="12700" dir="21000000" sx="102000" sy="102000" algn="ctr" rotWithShape="0">
              <a:schemeClr val="bg1"/>
            </a:outerShdw>
          </a:effectLst>
        </p:spPr>
      </p:cxnSp>
      <p:sp>
        <p:nvSpPr>
          <p:cNvPr id="20" name="ZoneTexte 21">
            <a:extLst>
              <a:ext uri="{FF2B5EF4-FFF2-40B4-BE49-F238E27FC236}">
                <a16:creationId xmlns:a16="http://schemas.microsoft.com/office/drawing/2014/main" id="{E431304C-58FA-4EA7-A85A-68620DAB24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93679" y="3260239"/>
            <a:ext cx="1034705" cy="192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4461" tIns="62231" rIns="124461" bIns="62231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100000"/>
            </a:pPr>
            <a:r>
              <a:rPr lang="fr-FR" altLang="fr-FR" sz="800" b="0" dirty="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nti-UV cowling</a:t>
            </a:r>
          </a:p>
        </p:txBody>
      </p:sp>
      <p:cxnSp>
        <p:nvCxnSpPr>
          <p:cNvPr id="21" name="Connecteur droit avec flèche 29">
            <a:extLst>
              <a:ext uri="{FF2B5EF4-FFF2-40B4-BE49-F238E27FC236}">
                <a16:creationId xmlns:a16="http://schemas.microsoft.com/office/drawing/2014/main" id="{46850189-75D2-44F6-8003-3C77D45A2EDB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6516216" y="3452378"/>
            <a:ext cx="545169" cy="169719"/>
          </a:xfrm>
          <a:prstGeom prst="straightConnector1">
            <a:avLst/>
          </a:prstGeom>
          <a:noFill/>
          <a:ln w="6350" algn="ctr">
            <a:solidFill>
              <a:srgbClr val="EB690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2" name="Image 3">
            <a:extLst>
              <a:ext uri="{FF2B5EF4-FFF2-40B4-BE49-F238E27FC236}">
                <a16:creationId xmlns:a16="http://schemas.microsoft.com/office/drawing/2014/main" id="{B138A1D2-A487-4F02-B7D7-35CB856BAE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2647" y="4478416"/>
            <a:ext cx="1301529" cy="1145825"/>
          </a:xfrm>
          <a:prstGeom prst="rect">
            <a:avLst/>
          </a:prstGeom>
        </p:spPr>
      </p:pic>
      <p:cxnSp>
        <p:nvCxnSpPr>
          <p:cNvPr id="23" name="Connecteur droit avec flèche 30">
            <a:extLst>
              <a:ext uri="{FF2B5EF4-FFF2-40B4-BE49-F238E27FC236}">
                <a16:creationId xmlns:a16="http://schemas.microsoft.com/office/drawing/2014/main" id="{10D5A93F-742C-408B-B1CC-7EF91DB99899}"/>
              </a:ext>
            </a:extLst>
          </p:cNvPr>
          <p:cNvCxnSpPr>
            <a:cxnSpLocks/>
          </p:cNvCxnSpPr>
          <p:nvPr/>
        </p:nvCxnSpPr>
        <p:spPr bwMode="auto">
          <a:xfrm>
            <a:off x="5693919" y="4660708"/>
            <a:ext cx="1974425" cy="206645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rgbClr val="EB690B"/>
            </a:solidFill>
            <a:prstDash val="solid"/>
            <a:round/>
            <a:headEnd type="none" w="med" len="med"/>
            <a:tailEnd type="triangle"/>
          </a:ln>
          <a:effectLst>
            <a:outerShdw blurRad="50800" dist="12700" dir="21000000" sx="102000" sy="102000" algn="ctr" rotWithShape="0">
              <a:schemeClr val="bg1"/>
            </a:outerShdw>
          </a:effectLst>
        </p:spPr>
      </p:cxnSp>
    </p:spTree>
    <p:extLst>
      <p:ext uri="{BB962C8B-B14F-4D97-AF65-F5344CB8AC3E}">
        <p14:creationId xmlns:p14="http://schemas.microsoft.com/office/powerpoint/2010/main" val="426412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del_Template_4x3_v1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9.1_FINAL.potx" id="{98EF7F50-19DD-4FF0-A9B2-A94E93D03614}" vid="{853FE6C2-6C24-45F4-9DFB-053838B184A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5</TotalTime>
  <Words>110</Words>
  <Application>Microsoft Office PowerPoint</Application>
  <PresentationFormat>On-screen Show (4:3)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SimSun</vt:lpstr>
      <vt:lpstr>SimSun</vt:lpstr>
      <vt:lpstr>Arial</vt:lpstr>
      <vt:lpstr>Wingdings</vt:lpstr>
      <vt:lpstr>1_Sidel_Template_4x3_v1</vt:lpstr>
      <vt:lpstr>think-cell Folie</vt:lpstr>
      <vt:lpstr>Increase hygiene level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cover up to 40% of blowing air</dc:title>
  <dc:creator>Gouriou, Lydie</dc:creator>
  <cp:lastModifiedBy>Sorega, Dan</cp:lastModifiedBy>
  <cp:revision>9</cp:revision>
  <dcterms:created xsi:type="dcterms:W3CDTF">2014-07-16T10:12:04Z</dcterms:created>
  <dcterms:modified xsi:type="dcterms:W3CDTF">2020-04-02T12:32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3-31T14:33:01.4362890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